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3" r:id="rId8"/>
    <p:sldId id="264" r:id="rId9"/>
    <p:sldId id="265" r:id="rId10"/>
    <p:sldId id="267" r:id="rId11"/>
    <p:sldId id="268" r:id="rId12"/>
    <p:sldId id="269" r:id="rId13"/>
    <p:sldId id="270" r:id="rId14"/>
    <p:sldId id="271" r:id="rId15"/>
    <p:sldId id="272" r:id="rId16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668BDC-3CFC-4D6B-A91E-37445E6F1C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1E9354-F9E3-4200-8072-FCB5A24FE1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9DFB63-504E-4B32-92FB-3FA730803F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4B9B4-11D0-45F6-AE81-20F6BA747112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170578-3116-4A95-A0C1-F3B5B159EF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E06AF5-BF70-421A-A27C-8EC39EE0F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B5172A-983E-4B21-959F-C344E2A96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7558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3A062C-9D90-43E0-A045-F21005223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A2CE4BD-55DA-45F3-8C38-E49A316078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BDCC15-5BB3-424F-80B9-E0DD434610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4B9B4-11D0-45F6-AE81-20F6BA747112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AA64D1-5E65-4C74-911A-2C56694F4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DE39C5-AC95-4BE3-B1C5-7771A5BE8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B5172A-983E-4B21-959F-C344E2A96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07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956541-15DC-463C-B648-629CD34D5E0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82D8C2-63FC-4D1C-8810-8DBF76B182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D8C2AB-1D32-4EED-88B0-CDF81339DC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4B9B4-11D0-45F6-AE81-20F6BA747112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EAD008-45B1-43AA-A81F-ADBCEFFA8F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C1A865-18D2-4B42-81E4-26520408A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B5172A-983E-4B21-959F-C344E2A96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3359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D6A38-569B-444E-AFEC-0724CCD4A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B14FDC-977C-450F-8868-F91CEE34AF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F9FB72-17C1-4074-86DB-3EE8746B11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4B9B4-11D0-45F6-AE81-20F6BA747112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418663-AB2C-4C7B-AFDC-F14F065A2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35B441-A624-432A-B2A8-9765615117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B5172A-983E-4B21-959F-C344E2A96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5336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BAE334-C4C4-4B93-971A-985E4B067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D77167-5EB9-42A7-9216-1C59163413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5B4C86-DD72-41E1-B371-3D43B26C00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4B9B4-11D0-45F6-AE81-20F6BA747112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982CB3-861A-496A-B227-34E6B9E87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96B6B3-CA46-4855-AC32-FC0FCDCD6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B5172A-983E-4B21-959F-C344E2A96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2567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C95BB6-DD16-4D8E-90CB-92D14E4DF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0B6BCB-9EAB-4C71-97C8-CBB184802D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0F5CA0-0961-42C2-90F2-055C367585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8BA13D-5940-4CFE-96F1-28CC3A95A0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4B9B4-11D0-45F6-AE81-20F6BA747112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8ADBF7-327B-4E86-9061-A6F98F8E9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53D4E7-388D-46BB-8C27-E4FC343FE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B5172A-983E-4B21-959F-C344E2A96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9739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5889A3-2E2D-402A-960F-3F310676B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FEC10F-6603-439F-A776-81ECC88D0A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2AF0BD-9192-4816-91B7-9616F77518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0B5F280-B4C8-4D22-8E98-E6E745BAC0E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067A36-D2A6-4CD5-B244-BCA969168F9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FE70D11-B701-44BA-984E-60412E438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4B9B4-11D0-45F6-AE81-20F6BA747112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88910BB-06EF-4483-AE4B-66F7E633B7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BDE924-CB52-44C9-8D36-D811B62C38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B5172A-983E-4B21-959F-C344E2A96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0344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4E05B-17C8-4CE1-BB6A-DD426D6FC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4712B9-60DE-4753-810B-FA538ED66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4B9B4-11D0-45F6-AE81-20F6BA747112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24A16-48AA-4CC7-A690-A3D2810A66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F18F8-16E2-4446-9887-4427B52961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B5172A-983E-4B21-959F-C344E2A96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3988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6C0F7E-E04E-469A-9BF2-81C51ABE3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4B9B4-11D0-45F6-AE81-20F6BA747112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99B419-CD9C-46EF-B769-F5B0FDDD9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301B63-BE60-481A-8072-147054914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B5172A-983E-4B21-959F-C344E2A96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843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2DC99F-CDEF-4A57-89A6-BF0C7488B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F49A43-AAC9-4C1B-A71A-2F2E154D00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CDBDF5-7EB5-44D2-91D5-0DB8A55E51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AB2506-D1CF-4077-AD65-F7B01867B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4B9B4-11D0-45F6-AE81-20F6BA747112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04932C-D524-478C-8923-053BB79948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6DD84A-8870-44A4-B1C4-44DDBC8E6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B5172A-983E-4B21-959F-C344E2A96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6621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20F1A-8825-41AF-90BF-34242DCA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28F4EB-CEA5-492A-8F18-210FB2A342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57B575-722A-4785-B16C-7970C6FCD3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0499AF-81CC-4FD3-B5E1-F4F4F027A1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04B9B4-11D0-45F6-AE81-20F6BA747112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052FE6-96BD-4245-9BEF-FA6DB954E0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52FDD9-7F6B-477D-8898-7F9F4F9E5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B5172A-983E-4B21-959F-C344E2A96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3409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42DDE98-39DC-44F7-A45F-6715D9D46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74762A-7A46-4A62-9B2A-4CB3BB51C3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ACCDC6-8AB8-411E-8C2C-07AA79AC8A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04B9B4-11D0-45F6-AE81-20F6BA747112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541877-1EF9-4D49-A152-6ABF73FFCF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C37551-C2A3-4D1B-9B52-9EDEAAFE87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B5172A-983E-4B21-959F-C344E2A96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185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6.jpg"/><Relationship Id="rId7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picture containing text, clothing, wearing&#10;&#10;Description automatically generated">
            <a:extLst>
              <a:ext uri="{FF2B5EF4-FFF2-40B4-BE49-F238E27FC236}">
                <a16:creationId xmlns:a16="http://schemas.microsoft.com/office/drawing/2014/main" id="{6FD81BD4-EE5E-4DAC-8502-0AFDB3468B4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8" t="9091" r="27716"/>
          <a:stretch/>
        </p:blipFill>
        <p:spPr>
          <a:xfrm>
            <a:off x="3667760" y="10"/>
            <a:ext cx="8524240" cy="685799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0"/>
            <a:ext cx="9339206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3000">
                <a:schemeClr val="bg1">
                  <a:alpha val="64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437A8-0194-4FF8-B37D-A33996E552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981" y="1397671"/>
            <a:ext cx="3779059" cy="3001609"/>
          </a:xfrm>
        </p:spPr>
        <p:txBody>
          <a:bodyPr anchor="b">
            <a:noAutofit/>
          </a:bodyPr>
          <a:lstStyle/>
          <a:p>
            <a:pPr algn="l"/>
            <a:r>
              <a:rPr lang="ru-RU" sz="4000" dirty="0">
                <a:solidFill>
                  <a:srgbClr val="00B0F0"/>
                </a:solidFill>
              </a:rPr>
              <a:t>Курсова работа по Съвременни биометрични технологии </a:t>
            </a:r>
            <a:endParaRPr lang="en-US" sz="4000" dirty="0">
              <a:solidFill>
                <a:srgbClr val="00B0F0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48A30E-434D-4631-88F9-2979E44CF2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9073" y="4667427"/>
            <a:ext cx="5307769" cy="1208141"/>
          </a:xfrm>
        </p:spPr>
        <p:txBody>
          <a:bodyPr>
            <a:noAutofit/>
          </a:bodyPr>
          <a:lstStyle/>
          <a:p>
            <a:pPr algn="l"/>
            <a:r>
              <a:rPr lang="ru-RU" sz="3200" dirty="0">
                <a:solidFill>
                  <a:srgbClr val="FFC000"/>
                </a:solidFill>
              </a:rPr>
              <a:t>Изследване и разработка на подход за разпознаване на 2D лица</a:t>
            </a:r>
            <a:endParaRPr lang="en-US" sz="3200" dirty="0">
              <a:solidFill>
                <a:srgbClr val="FFC000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20C645-1B4A-4379-A15F-D2BF09C02A99}"/>
              </a:ext>
            </a:extLst>
          </p:cNvPr>
          <p:cNvSpPr txBox="1"/>
          <p:nvPr/>
        </p:nvSpPr>
        <p:spPr>
          <a:xfrm>
            <a:off x="5586842" y="5905119"/>
            <a:ext cx="730582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	</a:t>
            </a:r>
            <a:r>
              <a:rPr lang="ru-RU" dirty="0"/>
              <a:t>Изготвили</a:t>
            </a:r>
            <a:r>
              <a:rPr lang="en-US" dirty="0"/>
              <a:t> </a:t>
            </a:r>
            <a:r>
              <a:rPr lang="bg-BG" dirty="0"/>
              <a:t>студенти</a:t>
            </a:r>
            <a:r>
              <a:rPr lang="ru-RU" dirty="0"/>
              <a:t>: </a:t>
            </a:r>
          </a:p>
          <a:p>
            <a:r>
              <a:rPr lang="ru-RU" dirty="0"/>
              <a:t>Николай Станимиров Проданов</a:t>
            </a:r>
            <a:r>
              <a:rPr lang="en-US" dirty="0"/>
              <a:t>;</a:t>
            </a:r>
            <a:r>
              <a:rPr lang="ru-RU" dirty="0"/>
              <a:t> </a:t>
            </a:r>
            <a:r>
              <a:rPr lang="en-US" dirty="0"/>
              <a:t>       </a:t>
            </a:r>
            <a:r>
              <a:rPr lang="ru-RU" dirty="0"/>
              <a:t>Фк. №: 111321045</a:t>
            </a:r>
            <a:r>
              <a:rPr lang="en-US" dirty="0"/>
              <a:t>;</a:t>
            </a:r>
            <a:r>
              <a:rPr lang="ru-RU" dirty="0"/>
              <a:t> Група: 232 </a:t>
            </a:r>
          </a:p>
          <a:p>
            <a:r>
              <a:rPr lang="ru-RU" dirty="0"/>
              <a:t>Чaни Димoв Димoв</a:t>
            </a:r>
            <a:r>
              <a:rPr lang="en-US" dirty="0"/>
              <a:t>;</a:t>
            </a:r>
            <a:r>
              <a:rPr lang="ru-RU" dirty="0"/>
              <a:t> </a:t>
            </a:r>
            <a:r>
              <a:rPr lang="en-US" dirty="0"/>
              <a:t>                              </a:t>
            </a:r>
            <a:r>
              <a:rPr lang="ru-RU" dirty="0"/>
              <a:t>Фк. №: 111321018</a:t>
            </a:r>
            <a:r>
              <a:rPr lang="en-US" dirty="0"/>
              <a:t>;</a:t>
            </a:r>
            <a:r>
              <a:rPr lang="ru-RU" dirty="0"/>
              <a:t> Група: 232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4471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F9B822F-893E-44C8-963C-64F50ACEC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BF87945-A001-489F-9D9B-7D9435F0B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8639" y="347471"/>
            <a:ext cx="11100816" cy="180136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058372-A30D-475A-B57F-45285AAAD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521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bg-BG" dirty="0">
                <a:solidFill>
                  <a:schemeClr val="bg1"/>
                </a:solidFill>
              </a:rPr>
              <a:t>Интегрално изображени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243A72B-885D-4AE8-A499-621704CD2D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2411" y="2516778"/>
            <a:ext cx="4958341" cy="2298504"/>
          </a:xfrm>
        </p:spPr>
        <p:txBody>
          <a:bodyPr anchor="ctr">
            <a:normAutofit/>
          </a:bodyPr>
          <a:lstStyle/>
          <a:p>
            <a:r>
              <a:rPr lang="bg-BG" sz="2200" dirty="0"/>
              <a:t>Еднакви операции при метода на </a:t>
            </a:r>
            <a:r>
              <a:rPr lang="bg-BG" sz="2200" dirty="0" err="1"/>
              <a:t>Харра</a:t>
            </a:r>
            <a:endParaRPr lang="bg-BG" sz="2200" dirty="0"/>
          </a:p>
          <a:p>
            <a:r>
              <a:rPr lang="bg-BG" sz="2200" dirty="0"/>
              <a:t>Време за сложност за един правоъгълник е </a:t>
            </a:r>
            <a:r>
              <a:rPr lang="en-US" sz="1600" dirty="0"/>
              <a:t>O(n</a:t>
            </a:r>
            <a:r>
              <a:rPr lang="en-US" sz="1600" baseline="30000" dirty="0"/>
              <a:t>2</a:t>
            </a:r>
            <a:r>
              <a:rPr lang="en-US" sz="1600" dirty="0"/>
              <a:t>).</a:t>
            </a:r>
            <a:endParaRPr lang="bg-BG" sz="1600" dirty="0"/>
          </a:p>
          <a:p>
            <a:r>
              <a:rPr lang="bg-BG" sz="2200" dirty="0"/>
              <a:t>Чрез интегрално изображение </a:t>
            </a:r>
            <a:r>
              <a:rPr lang="en-US" sz="2200" dirty="0"/>
              <a:t>O(1)</a:t>
            </a:r>
            <a:endParaRPr lang="bg-BG" sz="2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7014C7-8346-487F-9A42-739F303BAD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955"/>
          <a:stretch/>
        </p:blipFill>
        <p:spPr>
          <a:xfrm>
            <a:off x="475754" y="2688007"/>
            <a:ext cx="5779638" cy="36601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00DFDBC-75CB-4FB7-A436-4B526E7256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2411" y="5110159"/>
            <a:ext cx="3296110" cy="1400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063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F9B822F-893E-44C8-963C-64F50ACEC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BF87945-A001-489F-9D9B-7D9435F0B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8639" y="347471"/>
            <a:ext cx="11100816" cy="180136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058372-A30D-475A-B57F-45285AAAD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521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bg-BG" dirty="0">
                <a:solidFill>
                  <a:schemeClr val="bg1"/>
                </a:solidFill>
              </a:rPr>
              <a:t>Интегрално изображение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4E19A18-E974-4169-877A-1672624847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275" y="2635155"/>
            <a:ext cx="6770069" cy="37365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C46D6B-7792-479D-8FF0-F2DAD06A4B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4619" y="3633397"/>
            <a:ext cx="3812252" cy="113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6925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F9B822F-893E-44C8-963C-64F50ACEC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BF87945-A001-489F-9D9B-7D9435F0B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8639" y="347471"/>
            <a:ext cx="11100816" cy="180136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058372-A30D-475A-B57F-45285AAAD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521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  "</a:t>
            </a:r>
            <a:r>
              <a:rPr lang="ru-RU" dirty="0" err="1">
                <a:solidFill>
                  <a:schemeClr val="bg1"/>
                </a:solidFill>
              </a:rPr>
              <a:t>boost</a:t>
            </a:r>
            <a:r>
              <a:rPr lang="ru-RU" dirty="0">
                <a:solidFill>
                  <a:schemeClr val="bg1"/>
                </a:solidFill>
              </a:rPr>
              <a:t>" </a:t>
            </a:r>
            <a:r>
              <a:rPr lang="ru-RU" dirty="0" err="1">
                <a:solidFill>
                  <a:schemeClr val="bg1"/>
                </a:solidFill>
              </a:rPr>
              <a:t>трениращи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алгоритми</a:t>
            </a:r>
            <a:r>
              <a:rPr lang="ru-RU" dirty="0">
                <a:solidFill>
                  <a:schemeClr val="bg1"/>
                </a:solidFill>
              </a:rPr>
              <a:t> и </a:t>
            </a:r>
            <a:r>
              <a:rPr lang="ru-RU" dirty="0" err="1">
                <a:solidFill>
                  <a:schemeClr val="bg1"/>
                </a:solidFill>
              </a:rPr>
              <a:t>AdaBoost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243A72B-885D-4AE8-A499-621704CD2D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40790" y="2516777"/>
            <a:ext cx="6478630" cy="3660185"/>
          </a:xfrm>
        </p:spPr>
        <p:txBody>
          <a:bodyPr anchor="ctr">
            <a:normAutofit/>
          </a:bodyPr>
          <a:lstStyle/>
          <a:p>
            <a:r>
              <a:rPr lang="bg-BG" sz="2200" dirty="0"/>
              <a:t>Комбинират</a:t>
            </a:r>
            <a:r>
              <a:rPr lang="ru-RU" sz="2200" dirty="0"/>
              <a:t> </a:t>
            </a:r>
            <a:r>
              <a:rPr lang="ru-RU" sz="2200" dirty="0" err="1"/>
              <a:t>няколко</a:t>
            </a:r>
            <a:r>
              <a:rPr lang="ru-RU" sz="2200" dirty="0"/>
              <a:t> </a:t>
            </a:r>
            <a:r>
              <a:rPr lang="ru-RU" sz="2200" dirty="0" err="1"/>
              <a:t>слаби</a:t>
            </a:r>
            <a:r>
              <a:rPr lang="ru-RU" sz="2200" dirty="0"/>
              <a:t> </a:t>
            </a:r>
            <a:r>
              <a:rPr lang="ru-RU" sz="2200" dirty="0" err="1"/>
              <a:t>класификатора</a:t>
            </a:r>
            <a:r>
              <a:rPr lang="ru-RU" sz="2200" dirty="0"/>
              <a:t> в един по силен </a:t>
            </a:r>
            <a:r>
              <a:rPr lang="ru-RU" sz="2200" dirty="0" err="1"/>
              <a:t>класификатор</a:t>
            </a:r>
            <a:endParaRPr lang="bg-BG" sz="2200" dirty="0"/>
          </a:p>
          <a:p>
            <a:r>
              <a:rPr lang="ru-RU" sz="2200" dirty="0" err="1"/>
              <a:t>Позволява</a:t>
            </a:r>
            <a:r>
              <a:rPr lang="ru-RU" sz="2200" dirty="0"/>
              <a:t> на детектиращят </a:t>
            </a:r>
            <a:r>
              <a:rPr lang="ru-RU" sz="2200" dirty="0" err="1"/>
              <a:t>алгоритъм</a:t>
            </a:r>
            <a:r>
              <a:rPr lang="ru-RU" sz="2200" dirty="0"/>
              <a:t> </a:t>
            </a:r>
            <a:r>
              <a:rPr lang="ru-RU" sz="2200" dirty="0" err="1"/>
              <a:t>бързо</a:t>
            </a:r>
            <a:r>
              <a:rPr lang="ru-RU" sz="2200" dirty="0"/>
              <a:t> да </a:t>
            </a:r>
            <a:r>
              <a:rPr lang="ru-RU" sz="2200" dirty="0" err="1"/>
              <a:t>елиминира</a:t>
            </a:r>
            <a:r>
              <a:rPr lang="ru-RU" sz="2200" dirty="0"/>
              <a:t> изображения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B8ECCB-5C45-4121-8A04-6756A1D419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007" y="2896210"/>
            <a:ext cx="4842776" cy="3214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7609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F9B822F-893E-44C8-963C-64F50ACEC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BF87945-A001-489F-9D9B-7D9435F0B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8639" y="347471"/>
            <a:ext cx="11100816" cy="180136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058372-A30D-475A-B57F-45285AAAD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521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  </a:t>
            </a:r>
            <a:r>
              <a:rPr lang="ru-RU" dirty="0" err="1">
                <a:solidFill>
                  <a:schemeClr val="bg1"/>
                </a:solidFill>
              </a:rPr>
              <a:t>Каскаден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филтър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243A72B-885D-4AE8-A499-621704CD2D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33688" y="2516777"/>
            <a:ext cx="5385732" cy="3660185"/>
          </a:xfrm>
        </p:spPr>
        <p:txBody>
          <a:bodyPr anchor="ctr">
            <a:normAutofit/>
          </a:bodyPr>
          <a:lstStyle/>
          <a:p>
            <a:r>
              <a:rPr lang="bg-BG" sz="2200" dirty="0"/>
              <a:t>В резултат от </a:t>
            </a:r>
            <a:r>
              <a:rPr lang="en-US" sz="2200" dirty="0"/>
              <a:t> AdaBoost </a:t>
            </a:r>
            <a:r>
              <a:rPr lang="bg-BG" sz="2200" dirty="0"/>
              <a:t>подхода за трениране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4B85B0-9883-462F-9CFC-94E3A8DE49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717" y="2927757"/>
            <a:ext cx="5739283" cy="3053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6912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F9B822F-893E-44C8-963C-64F50ACEC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BF87945-A001-489F-9D9B-7D9435F0B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8639" y="347471"/>
            <a:ext cx="11100816" cy="180136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058372-A30D-475A-B57F-45285AAAD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521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  </a:t>
            </a:r>
            <a:r>
              <a:rPr lang="ru-RU" dirty="0" err="1">
                <a:solidFill>
                  <a:schemeClr val="bg1"/>
                </a:solidFill>
              </a:rPr>
              <a:t>Разпознаване</a:t>
            </a:r>
            <a:r>
              <a:rPr lang="ru-RU" dirty="0">
                <a:solidFill>
                  <a:schemeClr val="bg1"/>
                </a:solidFill>
              </a:rPr>
              <a:t> на лице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243A72B-885D-4AE8-A499-621704CD2D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52844" y="2516777"/>
            <a:ext cx="6266576" cy="3660185"/>
          </a:xfrm>
        </p:spPr>
        <p:txBody>
          <a:bodyPr anchor="ctr">
            <a:normAutofit/>
          </a:bodyPr>
          <a:lstStyle/>
          <a:p>
            <a:r>
              <a:rPr lang="en-US" sz="2200" dirty="0"/>
              <a:t>FaceNet </a:t>
            </a:r>
            <a:r>
              <a:rPr lang="bg-BG" sz="2200" dirty="0"/>
              <a:t>модел</a:t>
            </a:r>
          </a:p>
          <a:p>
            <a:r>
              <a:rPr lang="bg-BG" sz="2200" dirty="0"/>
              <a:t>Разработен на </a:t>
            </a:r>
            <a:r>
              <a:rPr lang="en-US" sz="2200" dirty="0"/>
              <a:t>Keras</a:t>
            </a:r>
          </a:p>
          <a:p>
            <a:r>
              <a:rPr lang="bg-BG" sz="2200" dirty="0"/>
              <a:t>Вектор с признаци</a:t>
            </a:r>
          </a:p>
          <a:p>
            <a:r>
              <a:rPr lang="bg-BG" sz="2200" dirty="0"/>
              <a:t>Позволява на алгоритми за класификация да работят с изображения на лица</a:t>
            </a:r>
          </a:p>
          <a:p>
            <a:r>
              <a:rPr lang="bg-BG" sz="2200" dirty="0"/>
              <a:t>Надграден и разработен от </a:t>
            </a:r>
            <a:r>
              <a:rPr lang="en-US" sz="2200" dirty="0"/>
              <a:t>Google</a:t>
            </a:r>
          </a:p>
          <a:p>
            <a:r>
              <a:rPr lang="bg-BG" sz="2200" dirty="0"/>
              <a:t>Използва се в </a:t>
            </a:r>
            <a:r>
              <a:rPr lang="en-US" sz="2200" dirty="0"/>
              <a:t>Google Pictures</a:t>
            </a:r>
          </a:p>
          <a:p>
            <a:r>
              <a:rPr lang="bg-BG" sz="2200" dirty="0"/>
              <a:t>Големи компании като </a:t>
            </a:r>
            <a:r>
              <a:rPr lang="en-US" sz="2200" dirty="0"/>
              <a:t>Netflix </a:t>
            </a:r>
            <a:r>
              <a:rPr lang="bg-BG" sz="2200" dirty="0"/>
              <a:t>също го използват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40F6CE-B991-493D-8526-30F5E4BD83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948" y="2459124"/>
            <a:ext cx="4218508" cy="38136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3486870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F9B822F-893E-44C8-963C-64F50ACEC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BF87945-A001-489F-9D9B-7D9435F0B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8639" y="347471"/>
            <a:ext cx="11100816" cy="180136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058372-A30D-475A-B57F-45285AAAD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521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bg-BG" dirty="0">
                <a:solidFill>
                  <a:schemeClr val="bg1"/>
                </a:solidFill>
              </a:rPr>
              <a:t>Реализация на система за разпознаване на лица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8069D3-9A4B-42C0-BB78-EE62DECC50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909269"/>
            <a:ext cx="10515600" cy="2751590"/>
          </a:xfrm>
        </p:spPr>
        <p:txBody>
          <a:bodyPr>
            <a:normAutofit/>
          </a:bodyPr>
          <a:lstStyle/>
          <a:p>
            <a:r>
              <a:rPr lang="bg-BG" dirty="0"/>
              <a:t>Тренира се да разпознава лица на известни </a:t>
            </a:r>
            <a:r>
              <a:rPr lang="bg-BG" dirty="0" err="1"/>
              <a:t>личниости</a:t>
            </a:r>
            <a:r>
              <a:rPr lang="bg-BG" dirty="0"/>
              <a:t> </a:t>
            </a:r>
          </a:p>
          <a:p>
            <a:r>
              <a:rPr lang="bg-BG" dirty="0"/>
              <a:t>Общо 92 изображения</a:t>
            </a:r>
          </a:p>
          <a:p>
            <a:r>
              <a:rPr lang="bg-BG" dirty="0"/>
              <a:t>70% обучение 30% верификация</a:t>
            </a:r>
          </a:p>
          <a:p>
            <a:r>
              <a:rPr lang="bg-BG" dirty="0"/>
              <a:t>Вероятностен резултат</a:t>
            </a:r>
          </a:p>
          <a:p>
            <a:r>
              <a:rPr lang="en-US" dirty="0"/>
              <a:t>Accuracy: train=100.000%, test=100.000%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57EDAEC-C420-49AF-8BF7-630A7640EE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966" y="2628948"/>
            <a:ext cx="10698068" cy="800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490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F9B822F-893E-44C8-963C-64F50ACEC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BF87945-A001-489F-9D9B-7D9435F0B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8639" y="347471"/>
            <a:ext cx="11100816" cy="180136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058372-A30D-475A-B57F-45285AAAD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521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bg-BG" dirty="0">
                <a:solidFill>
                  <a:schemeClr val="bg1"/>
                </a:solidFill>
              </a:rPr>
              <a:t>Биометрични данни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41FB8F6-53CE-48BF-8C1B-6054A80120A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36" r="2130"/>
          <a:stretch/>
        </p:blipFill>
        <p:spPr>
          <a:xfrm>
            <a:off x="841248" y="2516777"/>
            <a:ext cx="6236208" cy="3873863"/>
          </a:xfrm>
          <a:prstGeom prst="rect">
            <a:avLst/>
          </a:prstGeom>
        </p:spPr>
      </p:pic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243A72B-885D-4AE8-A499-621704CD2D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46848" y="2516777"/>
            <a:ext cx="3803904" cy="3660185"/>
          </a:xfrm>
        </p:spPr>
        <p:txBody>
          <a:bodyPr anchor="ctr">
            <a:normAutofit/>
          </a:bodyPr>
          <a:lstStyle/>
          <a:p>
            <a:r>
              <a:rPr lang="bg-BG" sz="2200" dirty="0"/>
              <a:t>пръстовите отпечатаци</a:t>
            </a:r>
            <a:endParaRPr lang="en-US" sz="2200" dirty="0"/>
          </a:p>
          <a:p>
            <a:r>
              <a:rPr lang="bg-BG" sz="2200" dirty="0"/>
              <a:t>лицевото разпознаване</a:t>
            </a:r>
            <a:endParaRPr lang="en-US" sz="2200" dirty="0"/>
          </a:p>
          <a:p>
            <a:r>
              <a:rPr lang="bg-BG" sz="2200" dirty="0"/>
              <a:t>Глас</a:t>
            </a:r>
            <a:endParaRPr lang="en-US" sz="2200" dirty="0"/>
          </a:p>
          <a:p>
            <a:r>
              <a:rPr lang="bg-BG" sz="2200" dirty="0"/>
              <a:t>разпознаване на ириса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14501009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F9B822F-893E-44C8-963C-64F50ACEC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BF87945-A001-489F-9D9B-7D9435F0B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8639" y="347471"/>
            <a:ext cx="11100816" cy="180136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DB956E-84A5-4EE4-9EAB-88A86625D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521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bg-BG" dirty="0">
                <a:solidFill>
                  <a:schemeClr val="bg1"/>
                </a:solidFill>
              </a:rPr>
              <a:t>Разпознаване на лица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88E9856-2F77-479E-B386-04529F8DF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46848" y="2516777"/>
            <a:ext cx="3803904" cy="3660185"/>
          </a:xfrm>
        </p:spPr>
        <p:txBody>
          <a:bodyPr anchor="ctr">
            <a:normAutofit/>
          </a:bodyPr>
          <a:lstStyle/>
          <a:p>
            <a:r>
              <a:rPr lang="bg-BG" sz="2200" dirty="0"/>
              <a:t>Метод за разпознаване на </a:t>
            </a:r>
            <a:r>
              <a:rPr lang="en-US" sz="2200" dirty="0"/>
              <a:t>2D </a:t>
            </a:r>
            <a:r>
              <a:rPr lang="bg-BG" sz="2200" dirty="0"/>
              <a:t>лица чрез метода на Собствени лица</a:t>
            </a:r>
            <a:r>
              <a:rPr lang="en-US" sz="2200" dirty="0"/>
              <a:t> (eigenfaces)</a:t>
            </a:r>
          </a:p>
          <a:p>
            <a:r>
              <a:rPr lang="en-US" sz="2200" dirty="0"/>
              <a:t>PCA </a:t>
            </a:r>
            <a:r>
              <a:rPr lang="bg-BG" sz="2200" dirty="0"/>
              <a:t>алгоритъм</a:t>
            </a:r>
            <a:endParaRPr lang="en-US" sz="2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D6E058F-5D03-4373-A87E-F7E327BB4F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2516776"/>
            <a:ext cx="7254239" cy="4168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299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B566528-1B12-4246-9431-5C2D7D081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9A1D62-EAF3-46DB-AD38-7D71733FA8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321734"/>
            <a:ext cx="10905066" cy="1135737"/>
          </a:xfrm>
        </p:spPr>
        <p:txBody>
          <a:bodyPr>
            <a:normAutofit/>
          </a:bodyPr>
          <a:lstStyle/>
          <a:p>
            <a:r>
              <a:rPr lang="ru-RU" sz="3600" dirty="0"/>
              <a:t>Конволюционната невронна мрежа (ConvNet)</a:t>
            </a:r>
            <a:endParaRPr lang="en-US" sz="36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02EC2F2-BB2C-47C1-B8F6-C502F07C86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56267" y="3024165"/>
            <a:ext cx="4008384" cy="2775201"/>
          </a:xfrm>
        </p:spPr>
        <p:txBody>
          <a:bodyPr>
            <a:normAutofit/>
          </a:bodyPr>
          <a:lstStyle/>
          <a:p>
            <a:r>
              <a:rPr lang="bg-BG" sz="2000" dirty="0"/>
              <a:t>Конволюция</a:t>
            </a:r>
          </a:p>
          <a:p>
            <a:r>
              <a:rPr lang="bg-BG" sz="2000" dirty="0"/>
              <a:t>аспекти/обекти в изображение</a:t>
            </a:r>
          </a:p>
          <a:p>
            <a:endParaRPr lang="en-US" sz="20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28A5161-06F1-46CF-8AD7-844680A59E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4601497"/>
            <a:ext cx="1014060" cy="2017580"/>
            <a:chOff x="0" y="4601497"/>
            <a:chExt cx="1014060" cy="2017580"/>
          </a:xfrm>
        </p:grpSpPr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D3F51FEB-38FB-4F6C-9F7B-2F2AFAB6546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-501760" y="5103257"/>
              <a:ext cx="2017580" cy="1014060"/>
            </a:xfrm>
            <a:prstGeom prst="triangle">
              <a:avLst>
                <a:gd name="adj" fmla="val 50000"/>
              </a:avLst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E547BA6-BAE0-43BB-A7CA-60F69CE252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2700000">
              <a:off x="427916" y="5728708"/>
              <a:ext cx="485578" cy="485578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" name="Content Placeholder 3" descr="Shape&#10;&#10;Description automatically generated">
            <a:extLst>
              <a:ext uri="{FF2B5EF4-FFF2-40B4-BE49-F238E27FC236}">
                <a16:creationId xmlns:a16="http://schemas.microsoft.com/office/drawing/2014/main" id="{44295201-E5CB-4FDF-83CF-90C24EC7F7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41409" y="1337433"/>
            <a:ext cx="5680220" cy="5198833"/>
          </a:xfrm>
          <a:prstGeom prst="rect">
            <a:avLst/>
          </a:prstGeom>
          <a:noFill/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5995D10D-E9C9-47DB-AE7E-801FEF38F5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219290" y="1"/>
            <a:ext cx="972709" cy="1935307"/>
            <a:chOff x="10918968" y="713127"/>
            <a:chExt cx="1273032" cy="2532832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C1A72C6-3DE4-4EC3-9AD5-9E0D40D8CE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2700000">
              <a:off x="11052629" y="2120024"/>
              <a:ext cx="645368" cy="645368"/>
            </a:xfrm>
            <a:prstGeom prst="rect">
              <a:avLst/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0B0DA1F1-C391-4EDF-9FE0-23E86E13776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6200000">
              <a:off x="10289068" y="1343027"/>
              <a:ext cx="2532832" cy="1273032"/>
            </a:xfrm>
            <a:prstGeom prst="triangle">
              <a:avLst>
                <a:gd name="adj" fmla="val 50000"/>
              </a:avLst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F4938021-FFE1-4B48-B46B-255F8427EBCE}"/>
              </a:ext>
            </a:extLst>
          </p:cNvPr>
          <p:cNvSpPr txBox="1"/>
          <p:nvPr/>
        </p:nvSpPr>
        <p:spPr>
          <a:xfrm>
            <a:off x="1133519" y="641038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000"/>
              </a:spcAft>
            </a:pPr>
            <a:r>
              <a:rPr lang="bg-BG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Фиг. </a:t>
            </a:r>
            <a:r>
              <a:rPr lang="en-US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3</a:t>
            </a:r>
            <a:r>
              <a:rPr lang="bg-BG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- Конволюционна операция за анализ на информация</a:t>
            </a:r>
            <a:endParaRPr lang="en-US" sz="18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7674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89000"/>
              </a:schemeClr>
            </a:gs>
            <a:gs pos="45000">
              <a:schemeClr val="accent3">
                <a:lumMod val="89000"/>
              </a:schemeClr>
            </a:gs>
            <a:gs pos="69000">
              <a:schemeClr val="accent3">
                <a:lumMod val="75000"/>
              </a:schemeClr>
            </a:gs>
            <a:gs pos="57000">
              <a:schemeClr val="accent3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33CD251C-A887-4D2F-925B-FC09719853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9D093C-27FB-4032-B282-42C4563F2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94548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C3980E-C827-47C9-9660-ACB999924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290" y="1780661"/>
            <a:ext cx="3582073" cy="146347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800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Keras API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5EE815E-1BD3-4777-B652-6D98825BF6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767290" y="681628"/>
            <a:ext cx="1128382" cy="847206"/>
            <a:chOff x="668003" y="1684057"/>
            <a:chExt cx="1128382" cy="847206"/>
          </a:xfrm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E6692982-4A7D-4392-87CD-F0CD4B027D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68003" y="1935883"/>
              <a:ext cx="675351" cy="595380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196485F7-F277-4123-AC53-98EA4C8587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245893" y="1684057"/>
              <a:ext cx="550492" cy="485306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4ABE1FBA-37D5-4174-A18F-33DF340A56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2266" y="1730737"/>
            <a:ext cx="6642532" cy="3968913"/>
          </a:xfrm>
          <a:prstGeom prst="rect">
            <a:avLst/>
          </a:prstGeom>
        </p:spPr>
      </p:pic>
      <p:pic>
        <p:nvPicPr>
          <p:cNvPr id="22" name="Picture 21" descr="Graphical user interface&#10;&#10;Description automatically generated">
            <a:extLst>
              <a:ext uri="{FF2B5EF4-FFF2-40B4-BE49-F238E27FC236}">
                <a16:creationId xmlns:a16="http://schemas.microsoft.com/office/drawing/2014/main" id="{DA2B6B0C-C6A3-4DD6-B56C-25158EF5B7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362" y="2947595"/>
            <a:ext cx="4181824" cy="2787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699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4281BC32-FF58-4898-A6B5-7B3D059BC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D614406-135F-4875-9C87-53822CB19A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999" cy="213969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47020BD-3785-4628-8C5E-A4011B43EF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139694"/>
            <a:ext cx="12192000" cy="146304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11" descr="A collage of a cat&#10;&#10;Description automatically generated with medium confidence">
            <a:extLst>
              <a:ext uri="{FF2B5EF4-FFF2-40B4-BE49-F238E27FC236}">
                <a16:creationId xmlns:a16="http://schemas.microsoft.com/office/drawing/2014/main" id="{B636C4B8-39D7-4E8F-94DF-9BE156E6059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75" y="3263642"/>
            <a:ext cx="3267075" cy="2227263"/>
          </a:xfrm>
          <a:prstGeom prst="rect">
            <a:avLst/>
          </a:prstGeom>
        </p:spPr>
      </p:pic>
      <p:sp>
        <p:nvSpPr>
          <p:cNvPr id="9" name="Текстово поле 8">
            <a:extLst>
              <a:ext uri="{FF2B5EF4-FFF2-40B4-BE49-F238E27FC236}">
                <a16:creationId xmlns:a16="http://schemas.microsoft.com/office/drawing/2014/main" id="{1A444FD1-B411-4828-8CBB-84B21B7A1154}"/>
              </a:ext>
            </a:extLst>
          </p:cNvPr>
          <p:cNvSpPr txBox="1"/>
          <p:nvPr/>
        </p:nvSpPr>
        <p:spPr>
          <a:xfrm>
            <a:off x="587375" y="5584188"/>
            <a:ext cx="3267075" cy="446088"/>
          </a:xfrm>
          <a:prstGeom prst="rect">
            <a:avLst/>
          </a:prstGeom>
          <a:solidFill>
            <a:srgbClr val="000000">
              <a:alpha val="50000"/>
            </a:srgbClr>
          </a:solidFill>
          <a:ln>
            <a:noFill/>
          </a:ln>
        </p:spPr>
        <p:txBody>
          <a:bodyPr wrap="square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bg-BG" b="1" dirty="0">
                <a:solidFill>
                  <a:srgbClr val="FFFF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Разтягане на контраста </a:t>
            </a:r>
            <a:endParaRPr lang="bg-BG" dirty="0">
              <a:solidFill>
                <a:srgbClr val="FFFF00"/>
              </a:solidFill>
            </a:endParaRPr>
          </a:p>
        </p:txBody>
      </p:sp>
      <p:pic>
        <p:nvPicPr>
          <p:cNvPr id="5" name="Picture 12" descr="A picture containing different, gallery&#10;&#10;Description automatically generated">
            <a:extLst>
              <a:ext uri="{FF2B5EF4-FFF2-40B4-BE49-F238E27FC236}">
                <a16:creationId xmlns:a16="http://schemas.microsoft.com/office/drawing/2014/main" id="{79BB17DF-DC60-4032-9B42-49979CB3AF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6425" y="3318827"/>
            <a:ext cx="3606800" cy="2227263"/>
          </a:xfrm>
          <a:prstGeom prst="rect">
            <a:avLst/>
          </a:prstGeom>
        </p:spPr>
      </p:pic>
      <p:sp>
        <p:nvSpPr>
          <p:cNvPr id="11" name="Текстово поле 10">
            <a:extLst>
              <a:ext uri="{FF2B5EF4-FFF2-40B4-BE49-F238E27FC236}">
                <a16:creationId xmlns:a16="http://schemas.microsoft.com/office/drawing/2014/main" id="{E60E394D-B9BA-4868-BEB3-35B3F8A265DF}"/>
              </a:ext>
            </a:extLst>
          </p:cNvPr>
          <p:cNvSpPr txBox="1"/>
          <p:nvPr/>
        </p:nvSpPr>
        <p:spPr>
          <a:xfrm>
            <a:off x="4591050" y="5584188"/>
            <a:ext cx="3606800" cy="446088"/>
          </a:xfrm>
          <a:prstGeom prst="rect">
            <a:avLst/>
          </a:prstGeom>
          <a:solidFill>
            <a:srgbClr val="000000">
              <a:alpha val="50000"/>
            </a:srgbClr>
          </a:solidFill>
          <a:ln>
            <a:noFill/>
          </a:ln>
        </p:spPr>
        <p:txBody>
          <a:bodyPr wrap="square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bg-BG" b="1" dirty="0">
                <a:solidFill>
                  <a:srgbClr val="FFFF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Изравняването на хистограмата</a:t>
            </a:r>
            <a:endParaRPr lang="bg-BG" dirty="0">
              <a:solidFill>
                <a:srgbClr val="FFFF00"/>
              </a:solidFill>
            </a:endParaRP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ED76E2CE-F062-487C-A509-8AAA022D7B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638" y="3210622"/>
            <a:ext cx="3267075" cy="2227263"/>
          </a:xfrm>
          <a:prstGeom prst="rect">
            <a:avLst/>
          </a:prstGeom>
        </p:spPr>
      </p:pic>
      <p:sp>
        <p:nvSpPr>
          <p:cNvPr id="13" name="Текстово поле 12">
            <a:extLst>
              <a:ext uri="{FF2B5EF4-FFF2-40B4-BE49-F238E27FC236}">
                <a16:creationId xmlns:a16="http://schemas.microsoft.com/office/drawing/2014/main" id="{E817F2C5-B4A1-42CB-830B-834B8FA28D22}"/>
              </a:ext>
            </a:extLst>
          </p:cNvPr>
          <p:cNvSpPr txBox="1"/>
          <p:nvPr/>
        </p:nvSpPr>
        <p:spPr>
          <a:xfrm>
            <a:off x="8799513" y="5567676"/>
            <a:ext cx="3267075" cy="446088"/>
          </a:xfrm>
          <a:prstGeom prst="rect">
            <a:avLst/>
          </a:prstGeom>
          <a:solidFill>
            <a:srgbClr val="000000">
              <a:alpha val="50000"/>
            </a:srgbClr>
          </a:solidFill>
          <a:ln>
            <a:noFill/>
          </a:ln>
        </p:spPr>
        <p:txBody>
          <a:bodyPr wrap="square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bg-BG" b="1" dirty="0">
                <a:solidFill>
                  <a:srgbClr val="FFFF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адаптивно изравняване на хистограма</a:t>
            </a:r>
            <a:endParaRPr lang="bg-BG" dirty="0">
              <a:solidFill>
                <a:srgbClr val="FFFF00"/>
              </a:solidFill>
            </a:endParaRPr>
          </a:p>
        </p:txBody>
      </p:sp>
      <p:sp>
        <p:nvSpPr>
          <p:cNvPr id="2" name="Заглавие 1">
            <a:extLst>
              <a:ext uri="{FF2B5EF4-FFF2-40B4-BE49-F238E27FC236}">
                <a16:creationId xmlns:a16="http://schemas.microsoft.com/office/drawing/2014/main" id="{A8083F87-7477-4615-B4F7-3C867B507C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120" y="434101"/>
            <a:ext cx="10279971" cy="1362042"/>
          </a:xfrm>
        </p:spPr>
        <p:txBody>
          <a:bodyPr anchor="b">
            <a:normAutofit/>
          </a:bodyPr>
          <a:lstStyle/>
          <a:p>
            <a:r>
              <a:rPr lang="bg-BG" sz="4800">
                <a:solidFill>
                  <a:schemeClr val="bg1"/>
                </a:solidFill>
              </a:rPr>
              <a:t>Подобряване на изображение</a:t>
            </a:r>
            <a:endParaRPr lang="bg-BG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7083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89000"/>
              </a:schemeClr>
            </a:gs>
            <a:gs pos="45000">
              <a:schemeClr val="accent3">
                <a:lumMod val="89000"/>
              </a:schemeClr>
            </a:gs>
            <a:gs pos="69000">
              <a:schemeClr val="accent3">
                <a:lumMod val="75000"/>
              </a:schemeClr>
            </a:gs>
            <a:gs pos="57000">
              <a:schemeClr val="accent3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33CD251C-A887-4D2F-925B-FC09719853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9D093C-27FB-4032-B282-42C4563F2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94548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C3980E-C827-47C9-9660-ACB999924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290" y="1780661"/>
            <a:ext cx="3582073" cy="146347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800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Keras API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5EE815E-1BD3-4777-B652-6D98825BF6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767290" y="681628"/>
            <a:ext cx="1128382" cy="847206"/>
            <a:chOff x="668003" y="1684057"/>
            <a:chExt cx="1128382" cy="847206"/>
          </a:xfrm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E6692982-4A7D-4392-87CD-F0CD4B027D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68003" y="1935883"/>
              <a:ext cx="675351" cy="595380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196485F7-F277-4123-AC53-98EA4C8587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245893" y="1684057"/>
              <a:ext cx="550492" cy="485306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4ABE1FBA-37D5-4174-A18F-33DF340A56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2266" y="1730737"/>
            <a:ext cx="6642532" cy="3968913"/>
          </a:xfrm>
          <a:prstGeom prst="rect">
            <a:avLst/>
          </a:prstGeom>
        </p:spPr>
      </p:pic>
      <p:pic>
        <p:nvPicPr>
          <p:cNvPr id="22" name="Picture 21" descr="Graphical user interface&#10;&#10;Description automatically generated">
            <a:extLst>
              <a:ext uri="{FF2B5EF4-FFF2-40B4-BE49-F238E27FC236}">
                <a16:creationId xmlns:a16="http://schemas.microsoft.com/office/drawing/2014/main" id="{DA2B6B0C-C6A3-4DD6-B56C-25158EF5B7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362" y="2947595"/>
            <a:ext cx="4181824" cy="27878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CBFFDB9-807A-49E4-A37E-9754B90729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0"/>
            <a:ext cx="12264704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55CCDEF-D9D7-4612-8FF9-DA028831A9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1855" y="1863"/>
            <a:ext cx="5268285" cy="178738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34B11C4-F824-443F-9B19-CF3639776B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4651" y="1799477"/>
            <a:ext cx="2910978" cy="107673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4541C10-DD8E-4595-A739-89546E7D6B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" y="360727"/>
            <a:ext cx="12175954" cy="5933693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92FDCC79-7F0A-4F42-845B-81DE31F623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767" y="1658892"/>
            <a:ext cx="6540215" cy="4905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1D01343C-1063-43FB-B2CA-4285F6F122CD}"/>
              </a:ext>
            </a:extLst>
          </p:cNvPr>
          <p:cNvSpPr txBox="1">
            <a:spLocks/>
          </p:cNvSpPr>
          <p:nvPr/>
        </p:nvSpPr>
        <p:spPr>
          <a:xfrm>
            <a:off x="1031539" y="4207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bg-BG" dirty="0">
                <a:solidFill>
                  <a:schemeClr val="bg1"/>
                </a:solidFill>
              </a:rPr>
              <a:t>Система за разпознаване на лица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E1758B4-B0B4-421C-BA94-7F18124DFC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1842" y="420726"/>
            <a:ext cx="1190851" cy="120701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22A69A4-2AA0-48C7-89CA-D126BA83ABE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3779" y="2204992"/>
            <a:ext cx="4254534" cy="41658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0" name="Content Placeholder 10">
            <a:extLst>
              <a:ext uri="{FF2B5EF4-FFF2-40B4-BE49-F238E27FC236}">
                <a16:creationId xmlns:a16="http://schemas.microsoft.com/office/drawing/2014/main" id="{A856F35B-08ED-4673-8ECA-0FAB9D3E2D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68345" y="2334075"/>
            <a:ext cx="3803904" cy="3660185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ru-RU" sz="2200" dirty="0">
              <a:solidFill>
                <a:schemeClr val="bg1"/>
              </a:solidFill>
            </a:endParaRPr>
          </a:p>
          <a:p>
            <a:r>
              <a:rPr lang="ru-RU" sz="2200" dirty="0"/>
              <a:t>Два </a:t>
            </a:r>
            <a:r>
              <a:rPr lang="ru-RU" sz="2200" dirty="0" err="1"/>
              <a:t>етапа</a:t>
            </a:r>
            <a:endParaRPr lang="ru-RU" sz="2200" dirty="0"/>
          </a:p>
          <a:p>
            <a:pPr lvl="1"/>
            <a:r>
              <a:rPr lang="ru-RU" sz="1800" dirty="0"/>
              <a:t>Детекция на лице в </a:t>
            </a:r>
            <a:r>
              <a:rPr lang="ru-RU" sz="1800" dirty="0" err="1"/>
              <a:t>текущото</a:t>
            </a:r>
            <a:r>
              <a:rPr lang="ru-RU" sz="1800" dirty="0"/>
              <a:t> изображение</a:t>
            </a:r>
          </a:p>
          <a:p>
            <a:pPr lvl="1"/>
            <a:r>
              <a:rPr lang="ru-RU" sz="1800" dirty="0" err="1"/>
              <a:t>Разпознаване</a:t>
            </a:r>
            <a:r>
              <a:rPr lang="ru-RU" sz="1800" dirty="0"/>
              <a:t> на </a:t>
            </a:r>
            <a:r>
              <a:rPr lang="ru-RU" sz="1800" dirty="0" err="1"/>
              <a:t>лицето</a:t>
            </a:r>
            <a:r>
              <a:rPr lang="ru-RU" sz="1800" dirty="0"/>
              <a:t> в </a:t>
            </a:r>
            <a:r>
              <a:rPr lang="ru-RU" sz="1800" dirty="0" err="1"/>
              <a:t>изображението</a:t>
            </a:r>
            <a:endParaRPr lang="ru-RU" sz="1800" dirty="0"/>
          </a:p>
          <a:p>
            <a:r>
              <a:rPr lang="ru-RU" sz="2200" dirty="0" err="1"/>
              <a:t>Подобрено</a:t>
            </a:r>
            <a:r>
              <a:rPr lang="ru-RU" sz="2200" dirty="0"/>
              <a:t> </a:t>
            </a:r>
            <a:r>
              <a:rPr lang="ru-RU" sz="2200" dirty="0" err="1"/>
              <a:t>бързодействие</a:t>
            </a:r>
            <a:endParaRPr lang="ru-RU" sz="2200" dirty="0"/>
          </a:p>
          <a:p>
            <a:r>
              <a:rPr lang="ru-RU" sz="2200" dirty="0"/>
              <a:t>По добра </a:t>
            </a:r>
            <a:r>
              <a:rPr lang="ru-RU" sz="2200" dirty="0" err="1"/>
              <a:t>точност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7618369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F9B822F-893E-44C8-963C-64F50ACEC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BF87945-A001-489F-9D9B-7D9435F0B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8639" y="347471"/>
            <a:ext cx="11100816" cy="180136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058372-A30D-475A-B57F-45285AAAD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521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Детекция на лице в изображение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243A72B-885D-4AE8-A499-621704CD2D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0569" y="2516777"/>
            <a:ext cx="10260183" cy="3660185"/>
          </a:xfrm>
        </p:spPr>
        <p:txBody>
          <a:bodyPr anchor="ctr">
            <a:normAutofit/>
          </a:bodyPr>
          <a:lstStyle/>
          <a:p>
            <a:r>
              <a:rPr lang="en-US" sz="2200" dirty="0"/>
              <a:t>Face detection with </a:t>
            </a:r>
            <a:r>
              <a:rPr lang="en-US" sz="2200" dirty="0" err="1"/>
              <a:t>Haar</a:t>
            </a:r>
            <a:r>
              <a:rPr lang="en-US" sz="2200" dirty="0"/>
              <a:t> cascades</a:t>
            </a:r>
          </a:p>
          <a:p>
            <a:r>
              <a:rPr lang="bg-BG" sz="2200" dirty="0"/>
              <a:t>Публикувано</a:t>
            </a:r>
            <a:r>
              <a:rPr lang="ru-RU" sz="2200" dirty="0"/>
              <a:t> от Пол Виола и Михаил </a:t>
            </a:r>
            <a:r>
              <a:rPr lang="ru-RU" sz="2200" dirty="0" err="1"/>
              <a:t>Джоунс</a:t>
            </a:r>
            <a:r>
              <a:rPr lang="ru-RU" sz="2200" dirty="0"/>
              <a:t> </a:t>
            </a:r>
            <a:r>
              <a:rPr lang="ru-RU" sz="2200" dirty="0" err="1"/>
              <a:t>през</a:t>
            </a:r>
            <a:r>
              <a:rPr lang="ru-RU" sz="2200" dirty="0"/>
              <a:t> 2001</a:t>
            </a:r>
            <a:endParaRPr lang="en-US" sz="2200" dirty="0"/>
          </a:p>
          <a:p>
            <a:r>
              <a:rPr lang="bg-BG" sz="2200" dirty="0"/>
              <a:t>Характеристично-базиран каскаден класификатор на </a:t>
            </a:r>
            <a:r>
              <a:rPr lang="bg-BG" sz="2200" dirty="0" err="1"/>
              <a:t>Харра</a:t>
            </a:r>
            <a:endParaRPr lang="en-US" sz="2200" dirty="0"/>
          </a:p>
          <a:p>
            <a:r>
              <a:rPr lang="bg-BG" sz="2200" dirty="0" err="1"/>
              <a:t>Отркиване</a:t>
            </a:r>
            <a:r>
              <a:rPr lang="bg-BG" sz="2200" dirty="0"/>
              <a:t> признаци в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8171975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F9B822F-893E-44C8-963C-64F50ACEC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BF87945-A001-489F-9D9B-7D9435F0B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8639" y="347471"/>
            <a:ext cx="11100816" cy="180136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058372-A30D-475A-B57F-45285AAAD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521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Признаци</a:t>
            </a:r>
            <a:r>
              <a:rPr lang="ru-RU" dirty="0">
                <a:solidFill>
                  <a:schemeClr val="bg1"/>
                </a:solidFill>
              </a:rPr>
              <a:t> на Хаара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243A72B-885D-4AE8-A499-621704CD2D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1783" y="2516777"/>
            <a:ext cx="6308969" cy="3660185"/>
          </a:xfrm>
        </p:spPr>
        <p:txBody>
          <a:bodyPr anchor="ctr">
            <a:normAutofit/>
          </a:bodyPr>
          <a:lstStyle/>
          <a:p>
            <a:r>
              <a:rPr lang="bg-BG" sz="2200" dirty="0"/>
              <a:t>Извличане на признаци</a:t>
            </a:r>
          </a:p>
          <a:p>
            <a:r>
              <a:rPr lang="bg-BG" sz="2200" dirty="0"/>
              <a:t>Кърнели или филтри</a:t>
            </a:r>
          </a:p>
          <a:p>
            <a:r>
              <a:rPr lang="ru-RU" sz="2200" dirty="0"/>
              <a:t>Предложен е от </a:t>
            </a:r>
            <a:r>
              <a:rPr lang="ru-RU" sz="2200" dirty="0" err="1"/>
              <a:t>Алфред</a:t>
            </a:r>
            <a:r>
              <a:rPr lang="ru-RU" sz="2200" dirty="0"/>
              <a:t> Хаара </a:t>
            </a:r>
            <a:r>
              <a:rPr lang="ru-RU" sz="2200" dirty="0" err="1"/>
              <a:t>през</a:t>
            </a:r>
            <a:r>
              <a:rPr lang="ru-RU" sz="2200" dirty="0"/>
              <a:t> 1909 година</a:t>
            </a:r>
          </a:p>
          <a:p>
            <a:r>
              <a:rPr lang="ru-RU" sz="2200" dirty="0"/>
              <a:t>Подобно на конволиционен кърнел</a:t>
            </a:r>
          </a:p>
          <a:p>
            <a:r>
              <a:rPr lang="bg-BG" sz="2200" dirty="0"/>
              <a:t>Голям брой филтри</a:t>
            </a:r>
          </a:p>
          <a:p>
            <a:r>
              <a:rPr lang="bg-BG" sz="2200" dirty="0"/>
              <a:t>Пример: 24х24 -&gt; 160 хиляди различни признака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6C0CEA-7331-465B-8017-BE0E9E66FE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0701" y="2359320"/>
            <a:ext cx="3326016" cy="187035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67E4E33-7B50-441F-8D05-E933D26783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701" y="4342298"/>
            <a:ext cx="3326017" cy="1930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54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IAAAAAAAAAAwAAAAMAAAAA/////wQADwwAAAAAAAAAAAAAIAD///////////////8AAAD///////////////8DAAAAAgD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ismOV+e5NpmlnA5gsPg0FAAAAAAADAAAAAAADAAAAAwADAAAAAAADAAAAAwADAAUA////////BAAAAAMAEAALeKHFyadBDkOEPEFs+msjdgUAAAABAAMAAAACAAMAAAABAAMAAAACAP///////w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wL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DAP///////wQAAAADAP///////wMAAwEDAAAAAwD///////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ismOV+e5NpmlnA5gsPg0DRGF0YQAbAAAABExpbmtlZFNoYXBlRGF0YQAFAAAAAAACTmFtZQAZAAAATGlua2VkU2hhcGVzRGF0YVByb3BlcnR5ABBWZXJzaW9uAAAAAAAJTGFzdFdyaXRlABDljnx+AQAAAAEA/////8YAxgAAAAVfaWQAEAAAAAR4ocXJp0EOQ4Q8QWz6ayN2A0RhdGEAUwAAAAhQcmVzZW50YXRpb25TY2FubmVkRm9yTGlua2VkU2hhcGVzAAECTnVtYmVyRm9ybWF0U2VwYXJhdG9yTW9kZQAKAAAAQXV0b21hdGljAAACTmFtZQAkAAAATGlua2VkU2hhcGVQcmVzZW50YXRpb25TZXR0aW5nc0RhdGEAEFZlcnNpb24AAAAAAAlMYXN0V3JpdGUAJuWOfH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9</Words>
  <Application>Microsoft Office PowerPoint</Application>
  <PresentationFormat>Widescreen</PresentationFormat>
  <Paragraphs>66</Paragraphs>
  <Slides>1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Calibri Light</vt:lpstr>
      <vt:lpstr>Times New Roman</vt:lpstr>
      <vt:lpstr>Office Theme</vt:lpstr>
      <vt:lpstr>Курсова работа по Съвременни биометрични технологии </vt:lpstr>
      <vt:lpstr>Биометрични данни</vt:lpstr>
      <vt:lpstr>Разпознаване на лица</vt:lpstr>
      <vt:lpstr>Конволюционната невронна мрежа (ConvNet)</vt:lpstr>
      <vt:lpstr>Keras API</vt:lpstr>
      <vt:lpstr>Подобряване на изображение</vt:lpstr>
      <vt:lpstr>Keras API</vt:lpstr>
      <vt:lpstr>Детекция на лице в изображение</vt:lpstr>
      <vt:lpstr> Признаци на Хаара</vt:lpstr>
      <vt:lpstr> Интегрално изображение</vt:lpstr>
      <vt:lpstr> Интегрално изображение</vt:lpstr>
      <vt:lpstr>  "boost" трениращи алгоритми и AdaBoost</vt:lpstr>
      <vt:lpstr>  Каскаден филтър</vt:lpstr>
      <vt:lpstr>  Разпознаване на лице</vt:lpstr>
      <vt:lpstr>Реализация на система за разпознаване на лиц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урсова работа по Съвременни биометрични технологии </dc:title>
  <dc:creator>Chani Dimov -X (cdimov)</dc:creator>
  <cp:lastModifiedBy>Prodanov, Nikolay</cp:lastModifiedBy>
  <cp:revision>34</cp:revision>
  <dcterms:created xsi:type="dcterms:W3CDTF">2022-01-18T23:50:11Z</dcterms:created>
  <dcterms:modified xsi:type="dcterms:W3CDTF">2022-01-21T13:50:18Z</dcterms:modified>
</cp:coreProperties>
</file>